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8" r:id="rId1"/>
  </p:sldMasterIdLst>
  <p:notesMasterIdLst>
    <p:notesMasterId r:id="rId3"/>
  </p:notesMasterIdLst>
  <p:sldIdLst>
    <p:sldId id="257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481"/>
    <p:restoredTop sz="94692"/>
  </p:normalViewPr>
  <p:slideViewPr>
    <p:cSldViewPr snapToGrid="0">
      <p:cViewPr>
        <p:scale>
          <a:sx n="111" d="100"/>
          <a:sy n="111" d="100"/>
        </p:scale>
        <p:origin x="1160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F2D3D9-2C09-4446-A4B3-38EBA5D59C31}" type="datetimeFigureOut">
              <a:rPr lang="en-US" smtClean="0"/>
              <a:t>12/8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81CE27-2146-394F-8A8D-6AD1E1817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7347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81CE27-2146-394F-8A8D-6AD1E1817F2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321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748618E9-EE2D-4864-9EEE-58939BD4FB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17D1EC0-23FF-4FC8-B22D-E34878EAA4CC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5AB929A7-258C-4469-AAB4-A67D713F7A8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A635CDB-2D00-49D5-B26E-0694A25000C7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4288D7A-F857-418D-92F2-368E841B9F27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F1084F50-7F3C-4A4A-877E-FFD9EC7CD88B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31E64C1-F4C0-4A94-B319-BB1A0A2450B5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63D8374-8052-417F-AB69-B97EAC43D513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7750734-4D51-4019-A003-38A3DE49B434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1B693D1-DBA2-4D3B-9B37-D9EE8C4112F4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CD3EA8-E4C0-4AF6-817F-F9F29157A499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A170FB3-B397-4AC9-85FD-65388F26D90A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BE5EC0B9-49C7-4777-AEC5-B5EF8DE40498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902048B-30F7-4434-87A5-140F9BB4BEB1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500A6E2-A41C-4751-8A4E-9A0C5718D930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C259517-7BE7-45F9-81C0-3A6362BF143C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0652F56-7B71-42B2-AB68-22204A6DF177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1059830E-1C3D-4D42-8789-524971CB465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53325A7-86D3-4B52-A7E3-ADDF408B406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D53F46F-EC12-484C-A4E7-791E57687AC1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64ED9CA-8950-47B8-A9ED-22B45CE15FB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E4429F7B-9FD7-438F-8ECA-3FCAD006180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C558100-D455-4B41-890C-BCC898B2D16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2886397-398A-4318-BE16-2CBAC1902F9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D32A3A6-CE6E-4ABD-8522-2C8DC88C070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9014C09-5B84-4798-8BDE-C80D76E67B8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A29EB9E-ED9D-4C69-8A26-9A7A0A83056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AA2899F9-1795-416F-8F3D-26EEB684DB6A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E3043474-8625-495C-BD06-3627FD286C5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432CE47-7631-408E-8DDC-79EE378B707B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2C8832D-8B8D-4036-B913-2D363143274B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CCEFEAF-E87B-4FF2-A947-94CABAA0610D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43A7CD3-94E1-42A9-BAB7-2AFCD9FCBD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1078" y="722903"/>
            <a:ext cx="10495904" cy="2460770"/>
          </a:xfrm>
        </p:spPr>
        <p:txBody>
          <a:bodyPr anchor="b">
            <a:normAutofit/>
          </a:bodyPr>
          <a:lstStyle>
            <a:lvl1pPr algn="l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67609B-8FD3-4FF7-8EBC-6619CA868B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1078" y="3428997"/>
            <a:ext cx="10495904" cy="230663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9" name="Right Triangle 38">
            <a:extLst>
              <a:ext uri="{FF2B5EF4-FFF2-40B4-BE49-F238E27FC236}">
                <a16:creationId xmlns:a16="http://schemas.microsoft.com/office/drawing/2014/main" id="{2437C4A8-8E3A-4ADA-93B9-64737CE1AB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3500000">
            <a:off x="-281093" y="2607907"/>
            <a:ext cx="568289" cy="568289"/>
          </a:xfrm>
          <a:prstGeom prst="rt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7A76F-3401-4F50-AE85-8F2AA247B9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12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F02E50-D34E-4DD4-8B3B-55D08F25F5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1078" y="236364"/>
            <a:ext cx="4114800" cy="41712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B53B71-D2FA-4DDC-9C9C-E26F7B591A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7052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9BD70F-ACE4-4595-845E-2296BDF83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978CD9-E0B5-4B48-8366-91E6D22C9F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FAF4B4-44D3-4E29-B235-A1B868207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12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D7BA37-9639-480E-84AB-EA277225C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BFC658-154E-48DE-AD31-813E5170C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5715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65405209-5179-4359-91ED-1B1A46619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E32344F-3BE0-4CE8-B1BD-9ABD425E1C0D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599DE306-F4FB-4730-A066-ADF38D73956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CB32885-303F-477F-A081-27425944F230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60C0C0B-4CD0-467D-A382-2B2415102C48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788DF0F-327F-43A5-AB71-3D32053D83CA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98A0902-2662-4911-A532-AA6310861479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ABDA4F7-23F4-46D1-8B7E-A21DD84083E1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7FC9FC2-8808-438E-8FFB-5FE416BFB5C8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04694E5-71F9-4210-9BE8-FC12CC177BD3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B37E805-A7E5-4906-B0C5-1373F3DA9628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A4CD964-FBD6-41AB-8A02-9509A2BAC11F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9CD7FF8-E827-4E0A-BCE2-CCB34EDAC0FC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C4AD6BB-F1EE-4FB8-96E8-6890447800EC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E935057-E0A3-4DAE-B9C8-6E818D7A7205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08DDF69-1C14-453C-BC3A-37D3FE69DFC7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6C26D82-15BA-4B2E-A42D-2ECA8012D307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7F73B67-E5E9-4000-91DA-034B2127EFD2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AFAC1B5-F0DD-4FC0-B4C9-77CB29DF442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9ACB3DB-54B2-4CEE-A791-C6FC6C758DA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8324004-1030-47D9-B817-425FF6ECCEC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1AA001C4-81AB-4FA6-ADAA-C8618056353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D1DAD34-7844-4F16-9874-F51F2A23B9EA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7DCBC6D-1BDA-4CB1-A3EC-59F240C8FA1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5B3C1A0-58E7-47E4-831B-CF3EE21D1E9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8A09FAA-E123-4FE4-B67A-9EBDE1A3130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5317B7C6-C816-4A58-B184-135E4FD19F5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4D22ABB-4CE8-47DC-80BF-39B3E4CF704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A17DE37-A292-4031-AF42-CDB00A13EE7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73EF673-CB75-435F-9BF3-7594EC3ADF8F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D35F4581-15F6-47EE-87D0-1132A093DBA5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565CF984-F5BD-45C4-9A12-B02DB4F044E1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ight Triangle 38">
            <a:extLst>
              <a:ext uri="{FF2B5EF4-FFF2-40B4-BE49-F238E27FC236}">
                <a16:creationId xmlns:a16="http://schemas.microsoft.com/office/drawing/2014/main" id="{ACE66A86-8455-497B-9CA4-F460A19E5F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900000">
            <a:off x="7770390" y="-287370"/>
            <a:ext cx="568289" cy="568289"/>
          </a:xfrm>
          <a:prstGeom prst="rt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5868C62B-71EF-4824-9EE8-6CAE1798423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707774" y="715616"/>
            <a:ext cx="3295876" cy="502659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243E4C8-4AA9-49D7-BF71-1AB5F2CFE1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3588" y="715616"/>
            <a:ext cx="6770448" cy="502659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7898B3-014E-440B-BA4E-1063392128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12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C22643-CE63-4C3E-B437-5A1A5EF91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D1CE5E-160A-4B37-94E2-3D9DC75BF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3637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0D8D6B-70A2-430A-9F5D-DA093D8C1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4A2845-6CA6-4745-A951-25B8D5319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049424-7A20-4BA1-9F60-671A5DBB3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12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1BD2B2-E17F-402E-8EA3-5C7C1118A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D23070-8658-4AC0-B2A3-4BE605A84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9680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69DB7AC-F7D7-430A-A2A7-CD3EBBF1D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66AAF10E-F092-4160-BF4A-FF568555B790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36341C04-9B94-4385-A661-7B8C1700049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4C1D709-6A0F-409C-B2D0-C248E562265E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999BE53-BA11-4B67-BFBB-6281DB50C75D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B662D93-31C1-4DFB-A938-E631F89AA9F0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7ECC8DA-0BEC-4508-89D4-12FA35B481F5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67DC8E6C-1B78-4B89-82DD-BBA778CD1482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8E5F54A-0315-4B15-B865-1F0460526260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DD7F352-DE39-4835-8D3F-69CDEC490F1E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9D6F20A-F777-4F41-B23B-735A64FA5DA3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21BBADBA-0F74-418B-BC50-AD44596C3EF8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918BE26-88E5-457C-8095-745F34D15366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FB269E0-E058-4340-B93D-7D40FFF521F3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DDD9AEE-5501-4385-B339-4616F567B53D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4D29C61-8926-4C98-882B-AB90108C8386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AC585F9-B633-4F7E-AADE-75079DC17158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5DC6366-5525-4FBC-9886-D4409F6B299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CC03CF9-098C-4140-806A-023D3DC3F2E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9C41BC4-89DF-4EC4-A141-9EF16D8EEB5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32AD067-E64C-499E-9C0A-A7252587441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653DD54-FA2B-4B91-A94E-3C46AE21B38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86AC204-156B-442E-B028-01036BD1F26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03512DE-F013-431A-9F6E-ADDA88FB2DD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E95FEE1-61A9-4065-B9F8-5589180AC62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028AA59-C1FA-46C0-BFDD-1C1D3404C81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A5C99EE-B791-470A-8639-0357A751EB4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454F4204-F48B-4AF5-B11E-0CE7D972AC3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76643FE-3966-4B82-9623-C61A56EDD20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DD769C5-B1B1-45BD-A40A-67E6568C8434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2A511707-50C7-48B2-81F7-5C82BF57795C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838D44F3-CCFE-48A0-8414-FFF5E43D9184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D126FE0-8204-40BB-AD46-4A0C7A475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78" y="718115"/>
            <a:ext cx="10312571" cy="278150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25E350-4200-419C-A167-527DD6B777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1078" y="3753350"/>
            <a:ext cx="10312571" cy="1991572"/>
          </a:xfrm>
        </p:spPr>
        <p:txBody>
          <a:bodyPr/>
          <a:lstStyle>
            <a:lvl1pPr marL="0" indent="0">
              <a:buNone/>
              <a:defRPr lang="en-US" sz="24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ight Triangle 38">
            <a:extLst>
              <a:ext uri="{FF2B5EF4-FFF2-40B4-BE49-F238E27FC236}">
                <a16:creationId xmlns:a16="http://schemas.microsoft.com/office/drawing/2014/main" id="{6741F519-22CF-4C01-B140-5480DBAB30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3500000">
            <a:off x="-281093" y="2607907"/>
            <a:ext cx="568289" cy="568289"/>
          </a:xfrm>
          <a:prstGeom prst="rt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5D1550-9064-4767-B70A-3501AF956C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12/8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1E1C33-2E8E-4041-9683-12048CB8AB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D36992-B921-4F3F-9C4A-0D67E618D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6264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ACFDF5-4B31-4F1B-83BA-82A951037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78" y="722903"/>
            <a:ext cx="10312571" cy="13548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EC9A6-F718-4497-8A75-637EE17458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1078" y="2345843"/>
            <a:ext cx="5009584" cy="32743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503E57-9695-4508-9778-B3DB1FB5FA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35075" y="2345843"/>
            <a:ext cx="5068574" cy="32743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74CEE6-B9DC-4CCC-8F4C-0B4DADFB0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12/8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C85191-5804-47C9-95EB-D49D715737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6B0A03-44F6-4299-B45D-E07A02390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555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6920E6-CC97-4BD8-92FE-8F36024D0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78" y="722900"/>
            <a:ext cx="10320062" cy="14075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3872FB-EDD5-42FB-8A9A-279EAD4FB0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1078" y="2331481"/>
            <a:ext cx="4963444" cy="540072"/>
          </a:xfrm>
        </p:spPr>
        <p:txBody>
          <a:bodyPr anchor="b"/>
          <a:lstStyle>
            <a:lvl1pPr marL="0" indent="0">
              <a:buNone/>
              <a:defRPr sz="2400" b="0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5F28C1-95C8-476A-8D93-D580DD39D8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1078" y="2954564"/>
            <a:ext cx="4963444" cy="27903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4315485-EE1A-41B0-873A-BA9D06E88B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03351" y="2331481"/>
            <a:ext cx="4900298" cy="540072"/>
          </a:xfrm>
        </p:spPr>
        <p:txBody>
          <a:bodyPr anchor="b"/>
          <a:lstStyle>
            <a:lvl1pPr marL="0" indent="0">
              <a:buNone/>
              <a:defRPr sz="2400" b="0" i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581A6FB-1583-4A1B-A4A7-C65062C57B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03351" y="2954564"/>
            <a:ext cx="4900298" cy="27903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3A29EA7-E61E-4617-9DA9-40B9299B32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3587" y="6215870"/>
            <a:ext cx="3843779" cy="417126"/>
          </a:xfrm>
        </p:spPr>
        <p:txBody>
          <a:bodyPr/>
          <a:lstStyle/>
          <a:p>
            <a:fld id="{8F72BA41-EC5B-4197-BCC8-0FD2E523CD7A}" type="datetimeFigureOut">
              <a:rPr lang="en-US" smtClean="0"/>
              <a:t>12/8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6249CC-EB72-46A6-87D9-5FBDA8E45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1078" y="236364"/>
            <a:ext cx="4114800" cy="41712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AA04EE7-47BE-4ECE-A170-793C4E5695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173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E4946-24AD-40DD-95A7-49BA49C22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78" y="722903"/>
            <a:ext cx="10501177" cy="140123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8CF342-49F6-482D-943E-7E50B1694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12/8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4033E5-3797-4FF8-866F-9FD9325A9F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1078" y="236364"/>
            <a:ext cx="4114800" cy="417126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1E67-424D-4638-98F8-38E71A410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185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5BED274-5EB4-4EF4-B353-E55BD50265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E0418BE5-560E-4E49-B12D-B555511FED72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849D1162-73B9-420F-BCBE-95039D00CD24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2BA76FE-316A-48E2-A03B-4E05691C4348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E678FBC-A6AD-4422-BA24-A4172F8862CA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D3C5C3E-2D08-43F0-AFAC-E15360CA7D34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0BEAC62-AF92-4A65-9790-6F6E0C6C5A1F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C77D7C5-E76E-4E82-BFC4-9A75D2C8089D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C66E0152-96B9-4067-80D3-D9BDE6D7EC95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918AFCC-B9DA-4092-8FBA-2CFEDB0388E3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91EC7D33-C87E-4812-A722-53C5D99272B5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5F239E3-501A-4C3C-9BE4-6BFA0D3126B7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B62BF3B-95BB-4188-AAE5-015A0EF3D186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4E5F0F-0124-40D0-A0BF-AE307A0E15F4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BADC3B1-26C7-4CF1-B29D-4D0DEA3E2633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0A7DF6E-1132-4A80-9B18-593B1ACD7784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EF19589-10D8-4A8F-A0B1-F7CE380E3001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8E6BB32-C4F8-4914-88D3-7DC5E79D023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8F046EE-9DBA-4924-A19C-ED8741F5F81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ABBC44-ABA8-4913-824E-64D344724644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4272B22-1C39-47A0-8551-73666AFBEEC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8CDFF66-464C-4ABF-BB01-00500A3B751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3079FC88-BD3B-4C04-9B90-0FC93C17921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1FCAED8-8687-4141-A7C3-0D88ACEDFECA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65038E6-7B32-460F-B804-D6C105FF44C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C5DAE85-AD17-454B-AB64-CEFF52FDAB9D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C603643-2066-4967-AE4B-9DA143843B2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37E9533-9B07-43E3-B939-7BADC01FEE8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DCCAAEE-AB2E-4534-893A-3DB109499FB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48BD39A2-970F-4714-AAA6-67EE99A0EAA9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CF4A1387-348B-4E46-9B65-FDF76ED0EF20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F5DAF27-A54D-442A-93E4-BA7F04EAE379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EA265F-80A1-448D-A6EB-CE8D6F6EC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12/8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15D00D-89E6-4E7A-9A4D-A8CCEB3BED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2B5AEA-8C38-4776-878C-AB01474D9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703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ight Triangle 39">
            <a:extLst>
              <a:ext uri="{FF2B5EF4-FFF2-40B4-BE49-F238E27FC236}">
                <a16:creationId xmlns:a16="http://schemas.microsoft.com/office/drawing/2014/main" id="{C4853C57-22BC-4465-8B37-DC06FE5A00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3500000">
            <a:off x="-281092" y="3144857"/>
            <a:ext cx="568289" cy="568289"/>
          </a:xfrm>
          <a:prstGeom prst="rt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67C0A6-48E9-4845-9EBF-EF2A3DFD27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87" y="713677"/>
            <a:ext cx="4499914" cy="2996581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A8B542-2084-485C-ABFC-94340B4C7E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98672" y="708102"/>
            <a:ext cx="5656716" cy="543064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47791F-9546-470D-A174-D75285263C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3587" y="3976544"/>
            <a:ext cx="4499914" cy="2162201"/>
          </a:xfrm>
        </p:spPr>
        <p:txBody>
          <a:bodyPr>
            <a:normAutofit/>
          </a:bodyPr>
          <a:lstStyle>
            <a:lvl1pPr marL="0" indent="0">
              <a:buNone/>
              <a:defRPr lang="en-US" sz="2400" b="0" i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550D594-9D00-4E12-9A7B-8B78EC199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C5DEA230-2680-47DD-BD49-FDBF4C1105A5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0BA61D-887F-46F1-B20D-EA4C38D467C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350DFBA-D16D-4AE0-8339-58C4089B94AD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F4AAAA5-CEFC-4C25-91D3-5AE49F720DA5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4D142AD-3FA3-43E4-8A61-61CF1E415684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C3755A3-93F4-4EC4-9635-7E89E4AF1D3F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0BFB588-0AB8-4BD8-9272-1CA867726018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45A6DF3-CF29-4480-A235-EAE88D65A63C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D6FF036-365A-4C15-8E15-0D5BBEBCEA58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85E76FF-4E86-4E42-B67E-B11AAE8D3076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1A64CEE-7CED-4EB2-A414-6F2D91E824F9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12C571B-47A6-49EB-A29F-678368BAED9F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160B109-845C-4119-BB66-9887B3859A7D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68B7447-FF64-42D9-B3C6-2BDC6F547EDE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FFF9B71-8653-450D-AFBE-2140D586FB50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F0B9E5A-C1DA-445C-A911-721DF98DDCDD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5C9A3DC-A478-4469-9359-34A435689F3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7DE3299-EED7-4771-A270-F6B02941AD6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434422A-5B59-41DC-8E2A-1A8244580E3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A176117-0990-434B-A9D9-B4B9043C544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7D6425E-C84A-462F-98F8-D0AB4FC3AF8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AF13AB68-7321-4AC2-AC60-0F417877D07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FE275CCE-D06F-49D0-8A47-372C5040330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9D4B374E-EEBC-4A9C-B3B4-B269EC71985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D80A7E6-BBEF-4EF1-B14A-29F26BFCF8E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D7BC013-9B50-459D-8B8D-F756514A478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E48964C0-675D-4807-B795-4B695A8F842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6911512-51A8-4CE7-A043-425C809EB5F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3C15D1E-0EDF-4AD7-90C7-3D8D64E645DB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78265A2D-2A6A-4301-B59F-8BAD98D9A57B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D4A4907F-2D1D-49D1-882D-119AA5E1183B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6A2284-37AB-43F5-98B8-8AB49DBFA9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12/8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D8ABAA-E2F7-4C89-99ED-2C340220D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52EF12-B2CD-4F3C-9F19-A86915405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8955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0DDA6865-0A03-48FA-AD6E-D5BF8FDE92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277E8EB-0DA2-40E4-AD12-1CCD0D262D0B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5BFE9F8-907A-4FFC-9FDE-2B51D238C40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4BDDC323-8732-4007-BB81-1BE917E3B2FF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908FC40-8403-438D-95CA-E4EDC66192A9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411D218-3FEA-4455-9809-91F029FB55AE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A541390F-BE50-4E4E-9DA2-B5F23F1A93D8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0EB3F094-97B5-48E1-A4DE-8BEED2550283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D4DBB43-CB34-4881-9445-A7FE131D5327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B71F972-027A-47F0-996C-84BFE4574050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C41353D-93C8-43F8-BBDE-7AB6B29EC38C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5CF07B24-CBD8-4F09-81EB-504285F8E115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27873BB-1D79-4055-801C-BDA0F9A15136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008D42B-2F35-497E-A26D-9AF008619D43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7F57499-C4D9-4B7D-BADA-38462AA3164E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271F2B9-1FFA-4350-9370-B098459A2324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8FBAFFC-DC8F-4BB4-B405-E4AAA269AED4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94FCE64-D7A5-411A-8795-932DD39F952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0B4ECFC-FD43-44CF-B7FA-2A8C5651400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9DFBC12-1E1D-44DE-9966-BAB05B24663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9BEF096-361C-478B-81EB-37584119BFE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FC81993-CE86-4910-B9CE-B69375BDCEE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75613D7-9FB0-4D33-8784-EC059DE019C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D520AFD9-E849-4F42-99B2-928E6098C29A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A200B0B-91CD-4D66-ADFC-9585D283103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B5DB0C45-30CE-4C85-95C6-FFF4977C646A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DC31604-5F93-436D-A9D2-A48846D4E0D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FF1B965-7DE1-4AE3-B28B-DB6847BC52C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EFD9FB65-4392-4D6A-8ACC-8151F682BFE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B40380C-3493-4AFE-BF13-AE68A8D244B4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CB21DF1-4859-4991-9C10-F8FA68F41013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354AD212-17DC-4506-AAA0-34A46A0B11C3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5B556E7-762B-4E18-A961-A4F7A9ECF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87" y="713677"/>
            <a:ext cx="4434823" cy="3020519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B7118AF-C54D-406D-AABE-AED6576D128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698672" y="713677"/>
            <a:ext cx="5304977" cy="543064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0" name="Right Triangle 39">
            <a:extLst>
              <a:ext uri="{FF2B5EF4-FFF2-40B4-BE49-F238E27FC236}">
                <a16:creationId xmlns:a16="http://schemas.microsoft.com/office/drawing/2014/main" id="{205CDEB9-8DED-4711-8140-4C943FC2CD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3500000">
            <a:off x="-281093" y="3143304"/>
            <a:ext cx="568289" cy="568289"/>
          </a:xfrm>
          <a:prstGeom prst="rt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E13C3F-6360-4760-9477-C3831A6E26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3587" y="3970330"/>
            <a:ext cx="4434823" cy="2173992"/>
          </a:xfrm>
        </p:spPr>
        <p:txBody>
          <a:bodyPr/>
          <a:lstStyle>
            <a:lvl1pPr marL="0" indent="0">
              <a:buNone/>
              <a:defRPr lang="en-US" sz="2400" b="0" i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192D3B-60EE-4FC5-9ED7-4445300844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12/8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F831E-9B19-4936-8BC9-F62A9B118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71E1D1-F7A2-40D0-91DA-07468A965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9235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BBA1D8-4BA9-B1B9-2D0D-DDEFFAD1BB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02533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BDF0D99C-5D42-41C6-A50C-C4E2D6B2A3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5F28962D-50BA-43F8-8863-28ECE711D3FC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80F5939-D4E0-46FD-9A5A-5D648E381092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8633D331-78CB-40A1-B167-8185EC5D707B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C512E4B1-E78E-49E7-AA36-374CC1B084E4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7D46340-CBFC-490F-B44E-7AA8FBF58B05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3575C26C-3EBD-4AA9-BA4D-2561E295D65D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235DB6BE-E065-4559-BF5C-36B56B379040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3DA54272-CD9D-4F68-BBAB-4F0C0C3EC635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002CE8F-9256-4F2C-B474-58873717119E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59C9DE9F-4252-401D-913E-B74C9E326F98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8FE4E69B-534F-4A80-9E1C-798BEE1B0795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27564E1C-009C-4832-AE8D-E98286693F0C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4305DF1C-5801-43F2-A8B9-5351369418C0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806E71C8-0783-4E17-9B34-F51231DD2954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FD908F17-2A89-4B0A-A2EA-692390969FE0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FBE22751-380F-44F9-BEED-0A553CF87BE5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7B27910-846F-4E4E-B588-F5B2E026FE9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E0501E-134E-46D7-984F-3A382B0BB29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90A83974-CBD7-4A69-9D84-2D3BBDE027A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503E931-00D4-4B0C-BC69-49FE5C76651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7732A30-BE2F-4D71-BC37-60F7B44591B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0C8EB840-DE7D-4E67-989C-F4D8F50E15BD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F05D2CC2-53CC-487E-A72E-42B1E9B1846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03A12D6B-1D60-4F26-8FB9-74AD5B070BD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1895D00-2D63-443C-95A8-5EB6E5EECBF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6AC50652-2A56-4382-95D0-971644EE0FA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A50A374-8880-482D-B54F-F74E0D7BE18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C66364D8-CCC7-4AAF-94BC-766EC160D99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4A0DC409-26E2-4453-89FD-745EA849BE7F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239ED039-D66C-4A5E-AA35-E7A5FA2E64C2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C72C13DC-161E-49CF-96B5-5383AA052AB7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103067-48DA-458C-99F6-9921C19A8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79" y="725951"/>
            <a:ext cx="10325000" cy="14424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B86862-507E-4F73-890F-3B77BCFA3F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1079" y="2340131"/>
            <a:ext cx="10325000" cy="35644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FBC0BB-AF05-4753-9159-41A16FBFC3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3587" y="6215870"/>
            <a:ext cx="3843779" cy="417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72BA41-EC5B-4197-BCC8-0FD2E523CD7A}" type="datetimeFigureOut">
              <a:rPr lang="en-US" smtClean="0"/>
              <a:pPr/>
              <a:t>12/8/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362F82-EA1A-4B02-8A64-3B44C0D9DA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1078" y="236364"/>
            <a:ext cx="4114800" cy="417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C5EF32-1CA9-4CDA-8182-2FB0C30A0F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3649" y="6215870"/>
            <a:ext cx="979151" cy="417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15108C-154A-4A5A-9C05-91A49A422B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63BAC6E0-ADAC-40FB-AF53-88FA5F8373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3500000">
            <a:off x="-281094" y="1516214"/>
            <a:ext cx="568289" cy="568289"/>
          </a:xfrm>
          <a:prstGeom prst="rt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209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7" r:id="rId6"/>
    <p:sldLayoutId id="2147483732" r:id="rId7"/>
    <p:sldLayoutId id="2147483733" r:id="rId8"/>
    <p:sldLayoutId id="2147483734" r:id="rId9"/>
    <p:sldLayoutId id="2147483736" r:id="rId10"/>
    <p:sldLayoutId id="2147483735" r:id="rId1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tx2">
            <a:lumMod val="50000"/>
            <a:lumOff val="50000"/>
          </a:schemeClr>
        </a:buClr>
        <a:buSzPct val="75000"/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tx2">
            <a:lumMod val="50000"/>
            <a:lumOff val="50000"/>
          </a:schemeClr>
        </a:buClr>
        <a:buSzPct val="75000"/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tx2">
            <a:lumMod val="50000"/>
            <a:lumOff val="50000"/>
          </a:schemeClr>
        </a:buClr>
        <a:buSzPct val="75000"/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tx2">
            <a:lumMod val="50000"/>
            <a:lumOff val="50000"/>
          </a:schemeClr>
        </a:buClr>
        <a:buSzPct val="75000"/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tx2">
            <a:lumMod val="50000"/>
            <a:lumOff val="50000"/>
          </a:schemeClr>
        </a:buClr>
        <a:buSzPct val="75000"/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DEE3599-1307-892A-84A0-3875C373CD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59218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CE52541-DB43-A201-8C40-35DE3F792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447" y="-22812"/>
            <a:ext cx="11515209" cy="839577"/>
          </a:xfrm>
        </p:spPr>
        <p:txBody>
          <a:bodyPr vert="horz">
            <a:normAutofit/>
          </a:bodyPr>
          <a:lstStyle/>
          <a:p>
            <a:r>
              <a:rPr lang="en-US" sz="3600" dirty="0"/>
              <a:t>Predictive Analysis Competition Pre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9A5047-102B-380B-35DC-58AFC2EF71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447" y="1066093"/>
            <a:ext cx="3963057" cy="5377237"/>
          </a:xfrm>
          <a:ln>
            <a:solidFill>
              <a:schemeClr val="accent1"/>
            </a:solidFill>
          </a:ln>
        </p:spPr>
        <p:txBody>
          <a:bodyPr>
            <a:normAutofit fontScale="40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5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ndview"/>
                <a:ea typeface="+mn-ea"/>
                <a:cs typeface="+mn-cs"/>
              </a:rPr>
              <a:t> Critical Steps:</a:t>
            </a:r>
            <a:endParaRPr lang="en-US" sz="5000" b="1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3000" b="1" dirty="0"/>
              <a:t>1. Data Exploration</a:t>
            </a:r>
          </a:p>
          <a:p>
            <a:pPr marL="457200" lvl="2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n-US" sz="2300" dirty="0">
                <a:solidFill>
                  <a:schemeClr val="accent1"/>
                </a:solidFill>
              </a:rPr>
              <a:t>Adequate time spending on data exploration before starting modelling, causing a more structured data analysis process.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3000" b="1" dirty="0"/>
              <a:t>2. Data Tidying &amp; Transformation</a:t>
            </a:r>
          </a:p>
          <a:p>
            <a:pPr marL="0" lvl="1">
              <a:lnSpc>
                <a:spcPct val="120000"/>
              </a:lnSpc>
              <a:spcBef>
                <a:spcPts val="0"/>
              </a:spcBef>
            </a:pPr>
            <a:r>
              <a:rPr lang="en-US" sz="2300" dirty="0"/>
              <a:t>Categorical Variables </a:t>
            </a:r>
          </a:p>
          <a:p>
            <a:pPr marL="457200" lvl="4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n-US" sz="2300" dirty="0">
                <a:solidFill>
                  <a:schemeClr val="accent1"/>
                </a:solidFill>
              </a:rPr>
              <a:t>All the categorical variables (including character and logical data types) have been transformed to dummy variables (numeric data type). It allows further machine learning models training.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3000" b="1" dirty="0"/>
              <a:t>3. Feature Selection</a:t>
            </a:r>
            <a:r>
              <a:rPr lang="en-US" sz="3000" dirty="0">
                <a:solidFill>
                  <a:schemeClr val="accent1"/>
                </a:solidFill>
              </a:rPr>
              <a:t>: </a:t>
            </a:r>
            <a:r>
              <a:rPr lang="en-US" sz="2300" dirty="0">
                <a:solidFill>
                  <a:schemeClr val="accent1"/>
                </a:solidFill>
              </a:rPr>
              <a:t>Reduced predictive modeling’s burden</a:t>
            </a:r>
          </a:p>
          <a:p>
            <a:pPr marL="0" lvl="1">
              <a:lnSpc>
                <a:spcPct val="120000"/>
              </a:lnSpc>
              <a:spcBef>
                <a:spcPts val="0"/>
              </a:spcBef>
            </a:pPr>
            <a:r>
              <a:rPr lang="en-US" sz="2300" dirty="0"/>
              <a:t>Variable Inter-set</a:t>
            </a:r>
            <a:r>
              <a:rPr lang="en-US" sz="2300" dirty="0">
                <a:solidFill>
                  <a:schemeClr val="accent1"/>
                </a:solidFill>
              </a:rPr>
              <a:t>: Only keep common variables of all datasets </a:t>
            </a:r>
            <a:endParaRPr lang="en-US" sz="2300" dirty="0"/>
          </a:p>
          <a:p>
            <a:pPr marL="0" lvl="1">
              <a:lnSpc>
                <a:spcPct val="120000"/>
              </a:lnSpc>
              <a:spcBef>
                <a:spcPts val="0"/>
              </a:spcBef>
            </a:pPr>
            <a:r>
              <a:rPr lang="en-US" sz="2300" dirty="0"/>
              <a:t>Remove Near Zero Variance</a:t>
            </a:r>
            <a:r>
              <a:rPr lang="en-US" sz="2300" dirty="0">
                <a:solidFill>
                  <a:schemeClr val="accent1"/>
                </a:solidFill>
              </a:rPr>
              <a:t>: Drop less predictive data </a:t>
            </a:r>
            <a:endParaRPr lang="en-US" sz="2300" dirty="0"/>
          </a:p>
          <a:p>
            <a:pPr marL="0" lvl="1">
              <a:lnSpc>
                <a:spcPct val="120000"/>
              </a:lnSpc>
              <a:spcBef>
                <a:spcPts val="0"/>
              </a:spcBef>
            </a:pPr>
            <a:r>
              <a:rPr lang="en-US" sz="2300" dirty="0"/>
              <a:t>Principal Components Analysis</a:t>
            </a:r>
            <a:r>
              <a:rPr lang="en-US" sz="2300" dirty="0">
                <a:solidFill>
                  <a:schemeClr val="accent1"/>
                </a:solidFill>
              </a:rPr>
              <a:t>: </a:t>
            </a:r>
          </a:p>
          <a:p>
            <a:pPr marL="457200" lvl="4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n-US" sz="2300" dirty="0">
                <a:solidFill>
                  <a:schemeClr val="accent1"/>
                </a:solidFill>
              </a:rPr>
              <a:t>More efficient than subset selection or shrinkage</a:t>
            </a:r>
          </a:p>
          <a:p>
            <a:pPr marL="457200" lvl="4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n-US" sz="2300" dirty="0">
                <a:solidFill>
                  <a:schemeClr val="accent1"/>
                </a:solidFill>
              </a:rPr>
              <a:t>Generating linear combinations of original predictors, based on based on similarity measurement (</a:t>
            </a:r>
            <a:r>
              <a:rPr lang="en-US" sz="2300" dirty="0" err="1">
                <a:solidFill>
                  <a:schemeClr val="accent1"/>
                </a:solidFill>
              </a:rPr>
              <a:t>eg.</a:t>
            </a:r>
            <a:r>
              <a:rPr lang="en-US" sz="2300" dirty="0">
                <a:solidFill>
                  <a:schemeClr val="accent1"/>
                </a:solidFill>
              </a:rPr>
              <a:t> correlation)</a:t>
            </a:r>
          </a:p>
          <a:p>
            <a:pPr marL="457200" lvl="4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n-US" sz="2300" dirty="0">
                <a:solidFill>
                  <a:schemeClr val="accent1"/>
                </a:solidFill>
              </a:rPr>
              <a:t>Capturing a certain amount of varianc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3000" b="1" dirty="0"/>
              <a:t>4. Data Analysis – Modeling</a:t>
            </a:r>
          </a:p>
          <a:p>
            <a:pPr lvl="1">
              <a:spcBef>
                <a:spcPts val="0"/>
              </a:spcBef>
              <a:buFont typeface="Wingdings" pitchFamily="2" charset="2"/>
              <a:buChar char="ü"/>
            </a:pPr>
            <a:r>
              <a:rPr lang="en-US" sz="2300" dirty="0">
                <a:solidFill>
                  <a:schemeClr val="accent1"/>
                </a:solidFill>
              </a:rPr>
              <a:t>I tried various models with default model parameters first. Each predictive model's RMSE (root-mean-square error) will be calculated to measure the model's accuracy for prediction. Then I compared these models' RMSE, and pick the models with lowest RMSE (best accuracy) for further parameters turning.</a:t>
            </a:r>
          </a:p>
          <a:p>
            <a:pPr lvl="1">
              <a:spcBef>
                <a:spcPts val="0"/>
              </a:spcBef>
              <a:buFont typeface="Wingdings" pitchFamily="2" charset="2"/>
              <a:buChar char="ü"/>
            </a:pPr>
            <a:r>
              <a:rPr lang="en-US" sz="2300" dirty="0">
                <a:solidFill>
                  <a:schemeClr val="accent1"/>
                </a:solidFill>
              </a:rPr>
              <a:t>Some models usually have higher flexibility and accuracy (</a:t>
            </a:r>
            <a:r>
              <a:rPr lang="en-US" sz="2300" dirty="0" err="1">
                <a:solidFill>
                  <a:schemeClr val="accent1"/>
                </a:solidFill>
              </a:rPr>
              <a:t>eg.</a:t>
            </a:r>
            <a:r>
              <a:rPr lang="en-US" sz="2300" dirty="0">
                <a:solidFill>
                  <a:schemeClr val="accent1"/>
                </a:solidFill>
              </a:rPr>
              <a:t> Bagging, Boosting, Random Forest, Support Vector Machine), while the other models have higher interpretability (</a:t>
            </a:r>
            <a:r>
              <a:rPr lang="en-US" sz="2300" dirty="0" err="1">
                <a:solidFill>
                  <a:schemeClr val="accent1"/>
                </a:solidFill>
              </a:rPr>
              <a:t>eg.</a:t>
            </a:r>
            <a:r>
              <a:rPr lang="en-US" sz="2300" dirty="0">
                <a:solidFill>
                  <a:schemeClr val="accent1"/>
                </a:solidFill>
              </a:rPr>
              <a:t> Linear Regression). Since our goal is to improve the predictive accuracy, the former are preferrable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3000" b="1" dirty="0"/>
              <a:t>5. Data Analysis – Model Tuning</a:t>
            </a:r>
            <a:r>
              <a:rPr lang="en-US" sz="3000" dirty="0"/>
              <a:t> </a:t>
            </a:r>
          </a:p>
          <a:p>
            <a:pPr lvl="1">
              <a:spcBef>
                <a:spcPts val="0"/>
              </a:spcBef>
              <a:buFont typeface="Wingdings" pitchFamily="2" charset="2"/>
              <a:buChar char="ü"/>
            </a:pPr>
            <a:r>
              <a:rPr lang="en-US" sz="2300" dirty="0">
                <a:solidFill>
                  <a:schemeClr val="accent1"/>
                </a:solidFill>
              </a:rPr>
              <a:t>Random Forest, Ranger, and </a:t>
            </a:r>
            <a:r>
              <a:rPr lang="en-US" sz="2300" dirty="0" err="1">
                <a:solidFill>
                  <a:schemeClr val="accent1"/>
                </a:solidFill>
              </a:rPr>
              <a:t>gbm</a:t>
            </a:r>
            <a:r>
              <a:rPr lang="en-US" sz="2300" dirty="0">
                <a:solidFill>
                  <a:schemeClr val="accent1"/>
                </a:solidFill>
              </a:rPr>
              <a:t> models are picked to further tuning. After an iterative process, the model’s prediction accuracy became better and better. </a:t>
            </a:r>
          </a:p>
          <a:p>
            <a:pPr marL="0" lvl="1">
              <a:lnSpc>
                <a:spcPct val="120000"/>
              </a:lnSpc>
              <a:spcBef>
                <a:spcPts val="0"/>
              </a:spcBef>
            </a:pPr>
            <a:r>
              <a:rPr lang="en-US" sz="2300" dirty="0"/>
              <a:t>Tuned Model Parameters </a:t>
            </a:r>
          </a:p>
          <a:p>
            <a:pPr marL="0" lvl="1">
              <a:lnSpc>
                <a:spcPct val="120000"/>
              </a:lnSpc>
              <a:spcBef>
                <a:spcPts val="0"/>
              </a:spcBef>
            </a:pPr>
            <a:r>
              <a:rPr lang="en-US" sz="2300" dirty="0"/>
              <a:t>Changed PCA Parameters </a:t>
            </a:r>
          </a:p>
          <a:p>
            <a:pPr marL="0" lvl="1">
              <a:lnSpc>
                <a:spcPct val="120000"/>
              </a:lnSpc>
              <a:spcBef>
                <a:spcPts val="0"/>
              </a:spcBef>
            </a:pPr>
            <a:r>
              <a:rPr lang="en-US" sz="2300" dirty="0"/>
              <a:t>Changed Seed 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C3A2DC9-2A55-789A-7C55-352F51664816}"/>
              </a:ext>
            </a:extLst>
          </p:cNvPr>
          <p:cNvSpPr txBox="1">
            <a:spLocks/>
          </p:cNvSpPr>
          <p:nvPr/>
        </p:nvSpPr>
        <p:spPr>
          <a:xfrm>
            <a:off x="8452465" y="1066093"/>
            <a:ext cx="3584075" cy="537723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Blip>
                <a:blip r:embed="rId6"/>
              </a:buBlip>
            </a:pPr>
            <a:r>
              <a:rPr lang="en-US" b="1" dirty="0"/>
              <a:t>Mistake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dirty="0"/>
              <a:t>Feature Selection (Principal Components Analysis): </a:t>
            </a:r>
            <a:r>
              <a:rPr lang="en-US" sz="900" dirty="0">
                <a:solidFill>
                  <a:schemeClr val="accent1"/>
                </a:solidFill>
              </a:rPr>
              <a:t>I did a mistake in coding. I didn't include brackets while indicating the reduced number of components (1664*0.7) for PCA. Although PCA generates linear combinations of original 1664 predictors for predictive modelling, the number of predictors have not been reduced. Interestingly, I re-do the it with correct codes, the results are the same as before.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q"/>
            </a:pPr>
            <a:r>
              <a:rPr lang="en-US" b="1" dirty="0"/>
              <a:t>Future Improvements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dirty="0"/>
              <a:t>Understanding the business indications of data set: </a:t>
            </a:r>
            <a:r>
              <a:rPr lang="en-US" sz="900" dirty="0">
                <a:solidFill>
                  <a:schemeClr val="accent1"/>
                </a:solidFill>
              </a:rPr>
              <a:t>Published literature and domain knowledge should help us a lot to understand what features are usually related or not related to a song’s rating.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dirty="0"/>
              <a:t>Feature Selection Approach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900" dirty="0"/>
              <a:t>Correlation Check: </a:t>
            </a:r>
            <a:r>
              <a:rPr lang="en-US" sz="900" dirty="0">
                <a:solidFill>
                  <a:schemeClr val="accent1"/>
                </a:solidFill>
              </a:rPr>
              <a:t>I generated a correlation matrix for all predictors (1664) before PCA, but I gave up because it’s too much to check. However, I should at least check it before I created dummy variables.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900" dirty="0"/>
              <a:t>Selection for the large amount of variables</a:t>
            </a:r>
            <a:r>
              <a:rPr lang="en-US" sz="900" dirty="0">
                <a:solidFill>
                  <a:schemeClr val="accent1"/>
                </a:solidFill>
              </a:rPr>
              <a:t> (</a:t>
            </a:r>
            <a:r>
              <a:rPr lang="en-US" sz="900" dirty="0" err="1">
                <a:solidFill>
                  <a:schemeClr val="accent1"/>
                </a:solidFill>
              </a:rPr>
              <a:t>eg.</a:t>
            </a:r>
            <a:r>
              <a:rPr lang="en-US" sz="900" dirty="0">
                <a:solidFill>
                  <a:schemeClr val="accent1"/>
                </a:solidFill>
              </a:rPr>
              <a:t> genre, </a:t>
            </a:r>
            <a:r>
              <a:rPr lang="en-US" sz="900" dirty="0" err="1">
                <a:solidFill>
                  <a:schemeClr val="accent1"/>
                </a:solidFill>
              </a:rPr>
              <a:t>perfomer</a:t>
            </a:r>
            <a:r>
              <a:rPr lang="en-US" sz="900" dirty="0">
                <a:solidFill>
                  <a:schemeClr val="accent1"/>
                </a:solidFill>
              </a:rPr>
              <a:t>), based on the certain variable’s effect to rating and its frequency of being a song’s feature. For example, filtering out performers with less than 25 songs in dataset, Mariah Carrey has the highest average rating. We should include “Mariah Carrey” as our predictors.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900" dirty="0">
                <a:solidFill>
                  <a:schemeClr val="tx1"/>
                </a:solidFill>
              </a:rPr>
              <a:t>Model Tuning: </a:t>
            </a:r>
            <a:r>
              <a:rPr lang="en-US" sz="900" dirty="0">
                <a:solidFill>
                  <a:schemeClr val="accent1"/>
                </a:solidFill>
              </a:rPr>
              <a:t>If time and computer allow, I would like to enlarge the range of parameters for model tuning. </a:t>
            </a:r>
            <a:endParaRPr lang="en-US" sz="900" dirty="0">
              <a:solidFill>
                <a:schemeClr val="tx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  <a:p>
            <a:pPr marL="22860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900" dirty="0">
              <a:solidFill>
                <a:schemeClr val="tx1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accent1"/>
              </a:solidFill>
            </a:endParaRPr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B54E5239-1082-979D-BC35-6FE1D23EF7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88615" y="4212616"/>
            <a:ext cx="3584075" cy="2371984"/>
          </a:xfrm>
          <a:prstGeom prst="rect">
            <a:avLst/>
          </a:prstGeom>
        </p:spPr>
      </p:pic>
      <p:pic>
        <p:nvPicPr>
          <p:cNvPr id="17" name="Picture 16" descr="Chart, bar chart&#10;&#10;Description automatically generated">
            <a:extLst>
              <a:ext uri="{FF2B5EF4-FFF2-40B4-BE49-F238E27FC236}">
                <a16:creationId xmlns:a16="http://schemas.microsoft.com/office/drawing/2014/main" id="{9DFFC905-A8C7-067E-39A6-9D3CA8AF68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39089" y="1235254"/>
            <a:ext cx="3995982" cy="295908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A6AF25CB-D900-0849-2582-CD348B93ADBD}"/>
              </a:ext>
            </a:extLst>
          </p:cNvPr>
          <p:cNvSpPr txBox="1">
            <a:spLocks/>
          </p:cNvSpPr>
          <p:nvPr/>
        </p:nvSpPr>
        <p:spPr>
          <a:xfrm>
            <a:off x="5296589" y="949438"/>
            <a:ext cx="2706010" cy="32640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50" dirty="0"/>
              <a:t>Model (without tuning) RMSE Comparison</a:t>
            </a:r>
          </a:p>
        </p:txBody>
      </p:sp>
      <p:pic>
        <p:nvPicPr>
          <p:cNvPr id="12" name="Picture 11" descr="Table&#10;&#10;Description automatically generated">
            <a:extLst>
              <a:ext uri="{FF2B5EF4-FFF2-40B4-BE49-F238E27FC236}">
                <a16:creationId xmlns:a16="http://schemas.microsoft.com/office/drawing/2014/main" id="{A6001CB9-D4BB-922E-EBE2-31F94EB5B5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38576" y="4872327"/>
            <a:ext cx="3113517" cy="1223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155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sineVTI">
  <a:themeElements>
    <a:clrScheme name="AnalogousFromDarkSeedLeftStep">
      <a:dk1>
        <a:srgbClr val="000000"/>
      </a:dk1>
      <a:lt1>
        <a:srgbClr val="FFFFFF"/>
      </a:lt1>
      <a:dk2>
        <a:srgbClr val="1C2432"/>
      </a:dk2>
      <a:lt2>
        <a:srgbClr val="F2F3F0"/>
      </a:lt2>
      <a:accent1>
        <a:srgbClr val="844BC5"/>
      </a:accent1>
      <a:accent2>
        <a:srgbClr val="4842B7"/>
      </a:accent2>
      <a:accent3>
        <a:srgbClr val="4B78C5"/>
      </a:accent3>
      <a:accent4>
        <a:srgbClr val="3999B3"/>
      </a:accent4>
      <a:accent5>
        <a:srgbClr val="49C0A8"/>
      </a:accent5>
      <a:accent6>
        <a:srgbClr val="39B368"/>
      </a:accent6>
      <a:hlink>
        <a:srgbClr val="339A97"/>
      </a:hlink>
      <a:folHlink>
        <a:srgbClr val="7F7F7F"/>
      </a:folHlink>
    </a:clrScheme>
    <a:fontScheme name="Custom 50">
      <a:majorFont>
        <a:latin typeface="Grandview"/>
        <a:ea typeface=""/>
        <a:cs typeface=""/>
      </a:majorFont>
      <a:minorFont>
        <a:latin typeface="Grandvie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sineVTI" id="{4F4449D5-5E9D-4D83-9E2A-939F9CF20276}" vid="{03166EA1-370F-4321-A61E-8851365B431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1</TotalTime>
  <Words>530</Words>
  <Application>Microsoft Macintosh PowerPoint</Application>
  <PresentationFormat>Widescreen</PresentationFormat>
  <Paragraphs>5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Grandview</vt:lpstr>
      <vt:lpstr>Wingdings</vt:lpstr>
      <vt:lpstr>CosineVTI</vt:lpstr>
      <vt:lpstr>think-cell Slide</vt:lpstr>
      <vt:lpstr>Predictive Analysis Competition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tive Analysis Competition </dc:title>
  <dc:creator>sz3074</dc:creator>
  <cp:lastModifiedBy>sz3074</cp:lastModifiedBy>
  <cp:revision>60</cp:revision>
  <dcterms:created xsi:type="dcterms:W3CDTF">2022-12-08T14:12:22Z</dcterms:created>
  <dcterms:modified xsi:type="dcterms:W3CDTF">2022-12-09T03:57:01Z</dcterms:modified>
</cp:coreProperties>
</file>